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8" r:id="rId7"/>
  </p:sldIdLst>
  <p:sldSz cx="12192000" cy="6858000"/>
  <p:notesSz cx="7104063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EB0000"/>
    <a:srgbClr val="727272"/>
    <a:srgbClr val="BDBDBD"/>
    <a:srgbClr val="E5E5E5"/>
    <a:srgbClr val="D9D9D9"/>
    <a:srgbClr val="C60018"/>
    <a:srgbClr val="A20013"/>
    <a:srgbClr val="A8A8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02" d="100"/>
          <a:sy n="102" d="100"/>
        </p:scale>
        <p:origin x="834" y="102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PS)" userId="fd3b2067-2981-4ad8-bf3a-d2e1004e4fa8" providerId="ADAL" clId="{589309C4-36DB-4280-AF67-EE2AB6D42C6A}"/>
    <pc:docChg chg="modSld">
      <pc:chgData name="Weigel Stefan (PAR-EPS)" userId="fd3b2067-2981-4ad8-bf3a-d2e1004e4fa8" providerId="ADAL" clId="{589309C4-36DB-4280-AF67-EE2AB6D42C6A}" dt="2025-02-25T16:08:14.261" v="2" actId="27918"/>
      <pc:docMkLst>
        <pc:docMk/>
      </pc:docMkLst>
      <pc:sldChg chg="mod">
        <pc:chgData name="Weigel Stefan (PAR-EPS)" userId="fd3b2067-2981-4ad8-bf3a-d2e1004e4fa8" providerId="ADAL" clId="{589309C4-36DB-4280-AF67-EE2AB6D42C6A}" dt="2025-02-25T16:08:14.261" v="2" actId="27918"/>
        <pc:sldMkLst>
          <pc:docMk/>
          <pc:sldMk cId="2131180641" sldId="398"/>
        </pc:sldMkLst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5ACCAA7F-05D1-4376-AB91-6779B360D7FB}"/>
    <pc:docChg chg="modSld">
      <pc:chgData name="Weigel Stefan (PAR-EPS)" userId="fd3b2067-2981-4ad8-bf3a-d2e1004e4fa8" providerId="ADAL" clId="{5ACCAA7F-05D1-4376-AB91-6779B360D7FB}" dt="2025-01-14T17:21:13.526" v="47"/>
      <pc:docMkLst>
        <pc:docMk/>
      </pc:docMkLst>
      <pc:sldChg chg="modSp mod">
        <pc:chgData name="Weigel Stefan (PAR-EPS)" userId="fd3b2067-2981-4ad8-bf3a-d2e1004e4fa8" providerId="ADAL" clId="{5ACCAA7F-05D1-4376-AB91-6779B360D7FB}" dt="2025-01-14T17:21:13.526" v="47"/>
        <pc:sldMkLst>
          <pc:docMk/>
          <pc:sldMk cId="2131180641" sldId="398"/>
        </pc:sldMkLst>
        <pc:spChg chg="mod">
          <ac:chgData name="Weigel Stefan (PAR-EPS)" userId="fd3b2067-2981-4ad8-bf3a-d2e1004e4fa8" providerId="ADAL" clId="{5ACCAA7F-05D1-4376-AB91-6779B360D7FB}" dt="2025-01-14T17:17:53.162" v="1" actId="20577"/>
          <ac:spMkLst>
            <pc:docMk/>
            <pc:sldMk cId="2131180641" sldId="398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5ACCAA7F-05D1-4376-AB91-6779B360D7FB}" dt="2025-01-14T17:20:01.054" v="25" actId="20577"/>
          <ac:spMkLst>
            <pc:docMk/>
            <pc:sldMk cId="2131180641" sldId="398"/>
            <ac:spMk id="11" creationId="{84F82B92-ACCD-41AC-8B9B-F49F946956E6}"/>
          </ac:spMkLst>
        </pc:spChg>
        <pc:graphicFrameChg chg="mod">
          <ac:chgData name="Weigel Stefan (PAR-EPS)" userId="fd3b2067-2981-4ad8-bf3a-d2e1004e4fa8" providerId="ADAL" clId="{5ACCAA7F-05D1-4376-AB91-6779B360D7FB}" dt="2025-01-14T17:21:13.526" v="47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Weigel Stefan (PAR-EPS)" userId="fd3b2067-2981-4ad8-bf3a-d2e1004e4fa8" providerId="ADAL" clId="{09165AF7-A8BA-445B-A53F-133721185368}"/>
    <pc:docChg chg="modSld">
      <pc:chgData name="Weigel Stefan (PAR-EPS)" userId="fd3b2067-2981-4ad8-bf3a-d2e1004e4fa8" providerId="ADAL" clId="{09165AF7-A8BA-445B-A53F-133721185368}" dt="2024-04-08T14:21:36.322" v="13" actId="692"/>
      <pc:docMkLst>
        <pc:docMk/>
      </pc:docMkLst>
      <pc:sldChg chg="modSp mod">
        <pc:chgData name="Weigel Stefan (PAR-EPS)" userId="fd3b2067-2981-4ad8-bf3a-d2e1004e4fa8" providerId="ADAL" clId="{09165AF7-A8BA-445B-A53F-133721185368}" dt="2024-04-08T14:21:36.322" v="13" actId="692"/>
        <pc:sldMkLst>
          <pc:docMk/>
          <pc:sldMk cId="2131180641" sldId="398"/>
        </pc:sldMkLst>
        <pc:spChg chg="mod">
          <ac:chgData name="Weigel Stefan (PAR-EPS)" userId="fd3b2067-2981-4ad8-bf3a-d2e1004e4fa8" providerId="ADAL" clId="{09165AF7-A8BA-445B-A53F-133721185368}" dt="2024-04-08T14:21:14.261" v="11" actId="207"/>
          <ac:spMkLst>
            <pc:docMk/>
            <pc:sldMk cId="2131180641" sldId="398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09165AF7-A8BA-445B-A53F-133721185368}" dt="2024-04-08T14:21:02.428" v="8" actId="207"/>
          <ac:spMkLst>
            <pc:docMk/>
            <pc:sldMk cId="2131180641" sldId="398"/>
            <ac:spMk id="11" creationId="{84F82B92-ACCD-41AC-8B9B-F49F946956E6}"/>
          </ac:spMkLst>
        </pc:spChg>
        <pc:graphicFrameChg chg="mod">
          <ac:chgData name="Weigel Stefan (PAR-EPS)" userId="fd3b2067-2981-4ad8-bf3a-d2e1004e4fa8" providerId="ADAL" clId="{09165AF7-A8BA-445B-A53F-133721185368}" dt="2024-04-08T14:21:36.322" v="13" actId="692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Weigel Stefan (PAR-EPS)" userId="fd3b2067-2981-4ad8-bf3a-d2e1004e4fa8" providerId="ADAL" clId="{810C6EF1-EA83-478C-B718-48AC6185A4A4}"/>
    <pc:docChg chg="undo custSel modSld">
      <pc:chgData name="Weigel Stefan (PAR-EPS)" userId="fd3b2067-2981-4ad8-bf3a-d2e1004e4fa8" providerId="ADAL" clId="{810C6EF1-EA83-478C-B718-48AC6185A4A4}" dt="2024-02-01T11:36:41.975" v="210" actId="27918"/>
      <pc:docMkLst>
        <pc:docMk/>
      </pc:docMkLst>
      <pc:sldChg chg="modSp mod">
        <pc:chgData name="Weigel Stefan (PAR-EPS)" userId="fd3b2067-2981-4ad8-bf3a-d2e1004e4fa8" providerId="ADAL" clId="{810C6EF1-EA83-478C-B718-48AC6185A4A4}" dt="2024-02-01T11:36:41.975" v="210" actId="27918"/>
        <pc:sldMkLst>
          <pc:docMk/>
          <pc:sldMk cId="2131180641" sldId="398"/>
        </pc:sldMkLst>
        <pc:spChg chg="mod">
          <ac:chgData name="Weigel Stefan (PAR-EPS)" userId="fd3b2067-2981-4ad8-bf3a-d2e1004e4fa8" providerId="ADAL" clId="{810C6EF1-EA83-478C-B718-48AC6185A4A4}" dt="2024-01-24T09:59:46.474" v="1" actId="20577"/>
          <ac:spMkLst>
            <pc:docMk/>
            <pc:sldMk cId="2131180641" sldId="398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810C6EF1-EA83-478C-B718-48AC6185A4A4}" dt="2024-01-24T10:10:44.450" v="68" actId="255"/>
          <ac:spMkLst>
            <pc:docMk/>
            <pc:sldMk cId="2131180641" sldId="398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810C6EF1-EA83-478C-B718-48AC6185A4A4}" dt="2024-01-31T15:27:58.412" v="134" actId="20577"/>
          <ac:spMkLst>
            <pc:docMk/>
            <pc:sldMk cId="2131180641" sldId="398"/>
            <ac:spMk id="11" creationId="{84F82B92-ACCD-41AC-8B9B-F49F946956E6}"/>
          </ac:spMkLst>
        </pc:spChg>
        <pc:graphicFrameChg chg="mod">
          <ac:chgData name="Weigel Stefan (PAR-EPS)" userId="fd3b2067-2981-4ad8-bf3a-d2e1004e4fa8" providerId="ADAL" clId="{810C6EF1-EA83-478C-B718-48AC6185A4A4}" dt="2024-01-24T10:54:32.821" v="114" actId="255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906A1572-1FE7-4EB6-8B8E-A8E87FD424AD}"/>
    <pc:docChg chg="modSld">
      <pc:chgData name="Meyer Raphael (PAR-ES)" userId="79615dfe-ed48-4e74-a40f-4f7b034c1c27" providerId="ADAL" clId="{906A1572-1FE7-4EB6-8B8E-A8E87FD424AD}" dt="2022-03-10T10:16:26.959" v="1" actId="27918"/>
      <pc:docMkLst>
        <pc:docMk/>
      </pc:docMkLst>
      <pc:sldChg chg="mod">
        <pc:chgData name="Meyer Raphael (PAR-ES)" userId="79615dfe-ed48-4e74-a40f-4f7b034c1c27" providerId="ADAL" clId="{906A1572-1FE7-4EB6-8B8E-A8E87FD424AD}" dt="2022-03-10T10:16:26.959" v="1" actId="27918"/>
        <pc:sldMkLst>
          <pc:docMk/>
          <pc:sldMk cId="2131180641" sldId="398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EE81D83F-6387-47FC-87B5-C4DA51A825E8}"/>
    <pc:docChg chg="custSel addSld delSld modSld sldOrd">
      <pc:chgData name="Meyer Raphael (PAR-ES)" userId="79615dfe-ed48-4e74-a40f-4f7b034c1c27" providerId="ADAL" clId="{EE81D83F-6387-47FC-87B5-C4DA51A825E8}" dt="2022-01-13T08:32:30.901" v="85" actId="47"/>
      <pc:docMkLst>
        <pc:docMk/>
      </pc:docMkLst>
      <pc:sldChg chg="del">
        <pc:chgData name="Meyer Raphael (PAR-ES)" userId="79615dfe-ed48-4e74-a40f-4f7b034c1c27" providerId="ADAL" clId="{EE81D83F-6387-47FC-87B5-C4DA51A825E8}" dt="2022-01-13T08:32:30.901" v="85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EE81D83F-6387-47FC-87B5-C4DA51A825E8}" dt="2022-01-13T08:32:30.901" v="85" actId="47"/>
        <pc:sldMkLst>
          <pc:docMk/>
          <pc:sldMk cId="2505455628" sldId="394"/>
        </pc:sldMkLst>
      </pc:sldChg>
      <pc:sldChg chg="modSp mod">
        <pc:chgData name="Meyer Raphael (PAR-ES)" userId="79615dfe-ed48-4e74-a40f-4f7b034c1c27" providerId="ADAL" clId="{EE81D83F-6387-47FC-87B5-C4DA51A825E8}" dt="2022-01-13T08:32:09.729" v="83"/>
        <pc:sldMkLst>
          <pc:docMk/>
          <pc:sldMk cId="2131180641" sldId="398"/>
        </pc:sldMkLst>
        <pc:graphicFrameChg chg="mod">
          <ac:chgData name="Meyer Raphael (PAR-ES)" userId="79615dfe-ed48-4e74-a40f-4f7b034c1c27" providerId="ADAL" clId="{EE81D83F-6387-47FC-87B5-C4DA51A825E8}" dt="2022-01-13T08:32:09.729" v="83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  <pc:sldChg chg="modSp del">
        <pc:chgData name="Meyer Raphael (PAR-ES)" userId="79615dfe-ed48-4e74-a40f-4f7b034c1c27" providerId="ADAL" clId="{EE81D83F-6387-47FC-87B5-C4DA51A825E8}" dt="2022-01-13T08:22:55.518" v="41" actId="47"/>
        <pc:sldMkLst>
          <pc:docMk/>
          <pc:sldMk cId="3338060280" sldId="399"/>
        </pc:sldMkLst>
        <pc:graphicFrameChg chg="mod">
          <ac:chgData name="Meyer Raphael (PAR-ES)" userId="79615dfe-ed48-4e74-a40f-4f7b034c1c27" providerId="ADAL" clId="{EE81D83F-6387-47FC-87B5-C4DA51A825E8}" dt="2022-01-13T08:20:26.145" v="35"/>
          <ac:graphicFrameMkLst>
            <pc:docMk/>
            <pc:sldMk cId="3338060280" sldId="399"/>
            <ac:graphicFrameMk id="8" creationId="{6973129B-3766-41C3-BD0F-FBF7F523AB4F}"/>
          </ac:graphicFrameMkLst>
        </pc:graphicFrameChg>
      </pc:sldChg>
      <pc:sldChg chg="del">
        <pc:chgData name="Meyer Raphael (PAR-ES)" userId="79615dfe-ed48-4e74-a40f-4f7b034c1c27" providerId="ADAL" clId="{EE81D83F-6387-47FC-87B5-C4DA51A825E8}" dt="2022-01-13T08:22:55.518" v="41" actId="47"/>
        <pc:sldMkLst>
          <pc:docMk/>
          <pc:sldMk cId="3739925742" sldId="400"/>
        </pc:sldMkLst>
      </pc:sldChg>
      <pc:sldChg chg="del">
        <pc:chgData name="Meyer Raphael (PAR-ES)" userId="79615dfe-ed48-4e74-a40f-4f7b034c1c27" providerId="ADAL" clId="{EE81D83F-6387-47FC-87B5-C4DA51A825E8}" dt="2022-01-13T08:22:55.518" v="41" actId="47"/>
        <pc:sldMkLst>
          <pc:docMk/>
          <pc:sldMk cId="3006792721" sldId="401"/>
        </pc:sldMkLst>
      </pc:sldChg>
      <pc:sldChg chg="modSp add mod ord">
        <pc:chgData name="Meyer Raphael (PAR-ES)" userId="79615dfe-ed48-4e74-a40f-4f7b034c1c27" providerId="ADAL" clId="{EE81D83F-6387-47FC-87B5-C4DA51A825E8}" dt="2022-01-13T08:32:18.116" v="84"/>
        <pc:sldMkLst>
          <pc:docMk/>
          <pc:sldMk cId="1202405408" sldId="402"/>
        </pc:sldMkLst>
        <pc:spChg chg="mod">
          <ac:chgData name="Meyer Raphael (PAR-ES)" userId="79615dfe-ed48-4e74-a40f-4f7b034c1c27" providerId="ADAL" clId="{EE81D83F-6387-47FC-87B5-C4DA51A825E8}" dt="2022-01-13T08:23:20.431" v="46"/>
          <ac:spMkLst>
            <pc:docMk/>
            <pc:sldMk cId="1202405408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81D83F-6387-47FC-87B5-C4DA51A825E8}" dt="2022-01-13T08:23:46.954" v="47"/>
          <ac:spMkLst>
            <pc:docMk/>
            <pc:sldMk cId="1202405408" sldId="402"/>
            <ac:spMk id="11" creationId="{84F82B92-ACCD-41AC-8B9B-F49F946956E6}"/>
          </ac:spMkLst>
        </pc:spChg>
        <pc:graphicFrameChg chg="mod">
          <ac:chgData name="Meyer Raphael (PAR-ES)" userId="79615dfe-ed48-4e74-a40f-4f7b034c1c27" providerId="ADAL" clId="{EE81D83F-6387-47FC-87B5-C4DA51A825E8}" dt="2022-01-13T08:32:18.116" v="84"/>
          <ac:graphicFrameMkLst>
            <pc:docMk/>
            <pc:sldMk cId="1202405408" sldId="402"/>
            <ac:graphicFrameMk id="8" creationId="{6973129B-3766-41C3-BD0F-FBF7F523AB4F}"/>
          </ac:graphicFrameMkLst>
        </pc:graphicFrameChg>
      </pc:sldChg>
      <pc:sldChg chg="add del mod">
        <pc:chgData name="Meyer Raphael (PAR-ES)" userId="79615dfe-ed48-4e74-a40f-4f7b034c1c27" providerId="ADAL" clId="{EE81D83F-6387-47FC-87B5-C4DA51A825E8}" dt="2022-01-13T08:17:23.238" v="17" actId="47"/>
        <pc:sldMkLst>
          <pc:docMk/>
          <pc:sldMk cId="3330701994" sldId="402"/>
        </pc:sldMkLst>
      </pc:sldChg>
      <pc:sldChg chg="modSp add mod">
        <pc:chgData name="Meyer Raphael (PAR-ES)" userId="79615dfe-ed48-4e74-a40f-4f7b034c1c27" providerId="ADAL" clId="{EE81D83F-6387-47FC-87B5-C4DA51A825E8}" dt="2022-01-13T08:30:24.543" v="75" actId="27918"/>
        <pc:sldMkLst>
          <pc:docMk/>
          <pc:sldMk cId="1131589857" sldId="403"/>
        </pc:sldMkLst>
        <pc:spChg chg="mod">
          <ac:chgData name="Meyer Raphael (PAR-ES)" userId="79615dfe-ed48-4e74-a40f-4f7b034c1c27" providerId="ADAL" clId="{EE81D83F-6387-47FC-87B5-C4DA51A825E8}" dt="2022-01-13T08:27:17.756" v="54"/>
          <ac:spMkLst>
            <pc:docMk/>
            <pc:sldMk cId="1131589857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81D83F-6387-47FC-87B5-C4DA51A825E8}" dt="2022-01-13T08:27:57.179" v="61" actId="20577"/>
          <ac:spMkLst>
            <pc:docMk/>
            <pc:sldMk cId="1131589857" sldId="403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E81D83F-6387-47FC-87B5-C4DA51A825E8}" dt="2022-01-13T08:27:43.209" v="55"/>
          <ac:spMkLst>
            <pc:docMk/>
            <pc:sldMk cId="1131589857" sldId="403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EE81D83F-6387-47FC-87B5-C4DA51A825E8}" dt="2022-01-13T08:30:17.403" v="74"/>
        <pc:sldMkLst>
          <pc:docMk/>
          <pc:sldMk cId="901103537" sldId="404"/>
        </pc:sldMkLst>
        <pc:spChg chg="mod">
          <ac:chgData name="Meyer Raphael (PAR-ES)" userId="79615dfe-ed48-4e74-a40f-4f7b034c1c27" providerId="ADAL" clId="{EE81D83F-6387-47FC-87B5-C4DA51A825E8}" dt="2022-01-13T08:28:59.511" v="62"/>
          <ac:spMkLst>
            <pc:docMk/>
            <pc:sldMk cId="901103537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81D83F-6387-47FC-87B5-C4DA51A825E8}" dt="2022-01-13T08:30:05.511" v="73" actId="20577"/>
          <ac:spMkLst>
            <pc:docMk/>
            <pc:sldMk cId="901103537" sldId="404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E81D83F-6387-47FC-87B5-C4DA51A825E8}" dt="2022-01-13T08:30:17.403" v="74"/>
          <ac:spMkLst>
            <pc:docMk/>
            <pc:sldMk cId="901103537" sldId="404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E1C5CC1-93D7-48AD-AA26-26A247E44800}"/>
    <pc:docChg chg="delSld">
      <pc:chgData name="Meyer Raphael (PAR-ES)" userId="79615dfe-ed48-4e74-a40f-4f7b034c1c27" providerId="ADAL" clId="{1E1C5CC1-93D7-48AD-AA26-26A247E44800}" dt="2022-01-17T15:09:04.684" v="0" actId="47"/>
      <pc:docMkLst>
        <pc:docMk/>
      </pc:docMkLst>
      <pc:sldChg chg="del">
        <pc:chgData name="Meyer Raphael (PAR-ES)" userId="79615dfe-ed48-4e74-a40f-4f7b034c1c27" providerId="ADAL" clId="{1E1C5CC1-93D7-48AD-AA26-26A247E44800}" dt="2022-01-17T15:09:04.684" v="0" actId="47"/>
        <pc:sldMkLst>
          <pc:docMk/>
          <pc:sldMk cId="1202405408" sldId="402"/>
        </pc:sldMkLst>
      </pc:sldChg>
      <pc:sldChg chg="del">
        <pc:chgData name="Meyer Raphael (PAR-ES)" userId="79615dfe-ed48-4e74-a40f-4f7b034c1c27" providerId="ADAL" clId="{1E1C5CC1-93D7-48AD-AA26-26A247E44800}" dt="2022-01-17T15:09:04.684" v="0" actId="47"/>
        <pc:sldMkLst>
          <pc:docMk/>
          <pc:sldMk cId="1131589857" sldId="403"/>
        </pc:sldMkLst>
      </pc:sldChg>
      <pc:sldChg chg="del">
        <pc:chgData name="Meyer Raphael (PAR-ES)" userId="79615dfe-ed48-4e74-a40f-4f7b034c1c27" providerId="ADAL" clId="{1E1C5CC1-93D7-48AD-AA26-26A247E44800}" dt="2022-01-17T15:09:04.684" v="0" actId="47"/>
        <pc:sldMkLst>
          <pc:docMk/>
          <pc:sldMk cId="901103537" sldId="404"/>
        </pc:sldMkLst>
      </pc:sldChg>
    </pc:docChg>
  </pc:docChgLst>
  <pc:docChgLst>
    <pc:chgData name="Meyer Raphael (PAR-ES)" userId="79615dfe-ed48-4e74-a40f-4f7b034c1c27" providerId="ADAL" clId="{85A5D077-E3D3-407F-A656-E46B28D7C20D}"/>
    <pc:docChg chg="addSld delSld modSld">
      <pc:chgData name="Meyer Raphael (PAR-ES)" userId="79615dfe-ed48-4e74-a40f-4f7b034c1c27" providerId="ADAL" clId="{85A5D077-E3D3-407F-A656-E46B28D7C20D}" dt="2022-01-12T16:16:32.452" v="24" actId="14100"/>
      <pc:docMkLst>
        <pc:docMk/>
      </pc:docMkLst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85A5D077-E3D3-407F-A656-E46B28D7C20D}" dt="2022-01-12T16:11:50.867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825719232" sldId="397"/>
        </pc:sldMkLst>
      </pc:sldChg>
      <pc:sldChg chg="modSp add mod">
        <pc:chgData name="Meyer Raphael (PAR-ES)" userId="79615dfe-ed48-4e74-a40f-4f7b034c1c27" providerId="ADAL" clId="{85A5D077-E3D3-407F-A656-E46B28D7C20D}" dt="2022-01-12T16:16:32.452" v="24" actId="14100"/>
        <pc:sldMkLst>
          <pc:docMk/>
          <pc:sldMk cId="3338060280" sldId="399"/>
        </pc:sldMkLst>
        <pc:spChg chg="mod">
          <ac:chgData name="Meyer Raphael (PAR-ES)" userId="79615dfe-ed48-4e74-a40f-4f7b034c1c27" providerId="ADAL" clId="{85A5D077-E3D3-407F-A656-E46B28D7C20D}" dt="2022-01-12T16:12:42.758" v="5"/>
          <ac:spMkLst>
            <pc:docMk/>
            <pc:sldMk cId="3338060280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85A5D077-E3D3-407F-A656-E46B28D7C20D}" dt="2022-01-12T16:13:26.858" v="6"/>
          <ac:spMkLst>
            <pc:docMk/>
            <pc:sldMk cId="3338060280" sldId="399"/>
            <ac:spMk id="11" creationId="{84F82B92-ACCD-41AC-8B9B-F49F946956E6}"/>
          </ac:spMkLst>
        </pc:spChg>
        <pc:graphicFrameChg chg="mod">
          <ac:chgData name="Meyer Raphael (PAR-ES)" userId="79615dfe-ed48-4e74-a40f-4f7b034c1c27" providerId="ADAL" clId="{85A5D077-E3D3-407F-A656-E46B28D7C20D}" dt="2022-01-12T16:16:32.452" v="24" actId="14100"/>
          <ac:graphicFrameMkLst>
            <pc:docMk/>
            <pc:sldMk cId="3338060280" sldId="399"/>
            <ac:graphicFrameMk id="8" creationId="{6973129B-3766-41C3-BD0F-FBF7F523AB4F}"/>
          </ac:graphicFrameMkLst>
        </pc:graphicFrameChg>
      </pc:sldChg>
      <pc:sldChg chg="add">
        <pc:chgData name="Meyer Raphael (PAR-ES)" userId="79615dfe-ed48-4e74-a40f-4f7b034c1c27" providerId="ADAL" clId="{85A5D077-E3D3-407F-A656-E46B28D7C20D}" dt="2022-01-12T16:12:09.524" v="3" actId="2890"/>
        <pc:sldMkLst>
          <pc:docMk/>
          <pc:sldMk cId="3739925742" sldId="400"/>
        </pc:sldMkLst>
      </pc:sldChg>
      <pc:sldChg chg="add">
        <pc:chgData name="Meyer Raphael (PAR-ES)" userId="79615dfe-ed48-4e74-a40f-4f7b034c1c27" providerId="ADAL" clId="{85A5D077-E3D3-407F-A656-E46B28D7C20D}" dt="2022-01-12T16:12:11.780" v="4" actId="2890"/>
        <pc:sldMkLst>
          <pc:docMk/>
          <pc:sldMk cId="3006792721" sldId="401"/>
        </pc:sldMkLst>
      </pc:sldChg>
      <pc:sldMasterChg chg="delSldLayout">
        <pc:chgData name="Meyer Raphael (PAR-ES)" userId="79615dfe-ed48-4e74-a40f-4f7b034c1c27" providerId="ADAL" clId="{85A5D077-E3D3-407F-A656-E46B28D7C20D}" dt="2022-01-12T16:11:56.518" v="1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85A5D077-E3D3-407F-A656-E46B28D7C20D}" dt="2022-01-12T16:11:56.518" v="1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61F027DE-2D12-40F6-82BF-F8CC4544A6FE}"/>
    <pc:docChg chg="modSld">
      <pc:chgData name="Weigel Stefan (PAR-EPS)" userId="fd3b2067-2981-4ad8-bf3a-d2e1004e4fa8" providerId="ADAL" clId="{61F027DE-2D12-40F6-82BF-F8CC4544A6FE}" dt="2025-02-21T09:38:49.790" v="19" actId="27918"/>
      <pc:docMkLst>
        <pc:docMk/>
      </pc:docMkLst>
      <pc:sldChg chg="mod">
        <pc:chgData name="Weigel Stefan (PAR-EPS)" userId="fd3b2067-2981-4ad8-bf3a-d2e1004e4fa8" providerId="ADAL" clId="{61F027DE-2D12-40F6-82BF-F8CC4544A6FE}" dt="2025-02-21T09:38:49.790" v="19" actId="27918"/>
        <pc:sldMkLst>
          <pc:docMk/>
          <pc:sldMk cId="2131180641" sldId="398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Weigel Stefan (PAR-ES)" userId="fd3b2067-2981-4ad8-bf3a-d2e1004e4fa8" providerId="ADAL" clId="{E0B3D03F-603B-4897-97C6-4F0F4F5B92E4}"/>
    <pc:docChg chg="modSld modNotesMaster">
      <pc:chgData name="Weigel Stefan (PAR-ES)" userId="fd3b2067-2981-4ad8-bf3a-d2e1004e4fa8" providerId="ADAL" clId="{E0B3D03F-603B-4897-97C6-4F0F4F5B92E4}" dt="2023-01-30T17:26:59.570" v="39"/>
      <pc:docMkLst>
        <pc:docMk/>
      </pc:docMkLst>
      <pc:sldChg chg="addSp modSp mod">
        <pc:chgData name="Weigel Stefan (PAR-ES)" userId="fd3b2067-2981-4ad8-bf3a-d2e1004e4fa8" providerId="ADAL" clId="{E0B3D03F-603B-4897-97C6-4F0F4F5B92E4}" dt="2023-01-30T17:26:59.570" v="39"/>
        <pc:sldMkLst>
          <pc:docMk/>
          <pc:sldMk cId="2131180641" sldId="398"/>
        </pc:sldMkLst>
        <pc:spChg chg="mod">
          <ac:chgData name="Weigel Stefan (PAR-ES)" userId="fd3b2067-2981-4ad8-bf3a-d2e1004e4fa8" providerId="ADAL" clId="{E0B3D03F-603B-4897-97C6-4F0F4F5B92E4}" dt="2023-01-30T17:08:15.042" v="1" actId="20577"/>
          <ac:spMkLst>
            <pc:docMk/>
            <pc:sldMk cId="2131180641" sldId="398"/>
            <ac:spMk id="2" creationId="{00000000-0000-0000-0000-000000000000}"/>
          </ac:spMkLst>
        </pc:spChg>
        <pc:spChg chg="add mod">
          <ac:chgData name="Weigel Stefan (PAR-ES)" userId="fd3b2067-2981-4ad8-bf3a-d2e1004e4fa8" providerId="ADAL" clId="{E0B3D03F-603B-4897-97C6-4F0F4F5B92E4}" dt="2023-01-30T17:26:59.570" v="39"/>
          <ac:spMkLst>
            <pc:docMk/>
            <pc:sldMk cId="2131180641" sldId="398"/>
            <ac:spMk id="3" creationId="{3CE2534E-B1A7-A9E6-615D-864B28F50FD4}"/>
          </ac:spMkLst>
        </pc:spChg>
        <pc:spChg chg="mod">
          <ac:chgData name="Weigel Stefan (PAR-ES)" userId="fd3b2067-2981-4ad8-bf3a-d2e1004e4fa8" providerId="ADAL" clId="{E0B3D03F-603B-4897-97C6-4F0F4F5B92E4}" dt="2023-01-30T17:09:22.533" v="17" actId="20577"/>
          <ac:spMkLst>
            <pc:docMk/>
            <pc:sldMk cId="2131180641" sldId="398"/>
            <ac:spMk id="11" creationId="{84F82B92-ACCD-41AC-8B9B-F49F946956E6}"/>
          </ac:spMkLst>
        </pc:spChg>
        <pc:graphicFrameChg chg="mod">
          <ac:chgData name="Weigel Stefan (PAR-ES)" userId="fd3b2067-2981-4ad8-bf3a-d2e1004e4fa8" providerId="ADAL" clId="{E0B3D03F-603B-4897-97C6-4F0F4F5B92E4}" dt="2023-01-30T17:10:08.345" v="20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Weigel Stefan (PAR-ES)" userId="fd3b2067-2981-4ad8-bf3a-d2e1004e4fa8" providerId="ADAL" clId="{194499B3-4FA6-4061-9072-125C677E7722}"/>
    <pc:docChg chg="modSld">
      <pc:chgData name="Weigel Stefan (PAR-ES)" userId="fd3b2067-2981-4ad8-bf3a-d2e1004e4fa8" providerId="ADAL" clId="{194499B3-4FA6-4061-9072-125C677E7722}" dt="2022-01-20T18:00:57.880" v="29" actId="20577"/>
      <pc:docMkLst>
        <pc:docMk/>
      </pc:docMkLst>
      <pc:sldChg chg="modSp mod">
        <pc:chgData name="Weigel Stefan (PAR-ES)" userId="fd3b2067-2981-4ad8-bf3a-d2e1004e4fa8" providerId="ADAL" clId="{194499B3-4FA6-4061-9072-125C677E7722}" dt="2022-01-20T18:00:57.880" v="29" actId="20577"/>
        <pc:sldMkLst>
          <pc:docMk/>
          <pc:sldMk cId="2131180641" sldId="398"/>
        </pc:sldMkLst>
        <pc:spChg chg="mod">
          <ac:chgData name="Weigel Stefan (PAR-ES)" userId="fd3b2067-2981-4ad8-bf3a-d2e1004e4fa8" providerId="ADAL" clId="{194499B3-4FA6-4061-9072-125C677E7722}" dt="2022-01-20T18:00:57.880" v="29" actId="20577"/>
          <ac:spMkLst>
            <pc:docMk/>
            <pc:sldMk cId="2131180641" sldId="398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194499B3-4FA6-4061-9072-125C677E7722}" dt="2022-01-20T18:00:54.178" v="27" actId="20577"/>
          <ac:spMkLst>
            <pc:docMk/>
            <pc:sldMk cId="2131180641" sldId="398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971205459462246"/>
          <c:y val="8.0785241351003956E-2"/>
          <c:w val="0.78148328772027853"/>
          <c:h val="0.7640616527872287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H$2</c:f>
              <c:strCache>
                <c:ptCount val="1"/>
                <c:pt idx="0">
                  <c:v>Schweiz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C15-44C7-B782-A061291EEFA2}"/>
              </c:ext>
            </c:extLst>
          </c:dPt>
          <c:cat>
            <c:strRef>
              <c:f>data!$G$3:$G$10</c:f>
              <c:strCache>
                <c:ptCount val="8"/>
                <c:pt idx="0">
                  <c:v>Anlagen</c:v>
                </c:pt>
                <c:pt idx="1">
                  <c:v>Energie und Energieanlagen</c:v>
                </c:pt>
                <c:pt idx="2">
                  <c:v>Hochbau</c:v>
                </c:pt>
                <c:pt idx="3">
                  <c:v>Nicht zugeordnet</c:v>
                </c:pt>
                <c:pt idx="4">
                  <c:v>ICT &amp; Material</c:v>
                </c:pt>
                <c:pt idx="5">
                  <c:v>Dienstleistungen</c:v>
                </c:pt>
                <c:pt idx="6">
                  <c:v>Fahrzeuge</c:v>
                </c:pt>
                <c:pt idx="7">
                  <c:v>Tiefbau</c:v>
                </c:pt>
              </c:strCache>
            </c:strRef>
          </c:cat>
          <c:val>
            <c:numRef>
              <c:f>data!$H$3:$H$10</c:f>
              <c:numCache>
                <c:formatCode>#,##0.00</c:formatCode>
                <c:ptCount val="8"/>
                <c:pt idx="0">
                  <c:v>0.31349202969999901</c:v>
                </c:pt>
                <c:pt idx="1">
                  <c:v>0.31344334757000003</c:v>
                </c:pt>
                <c:pt idx="2">
                  <c:v>0.40167851613</c:v>
                </c:pt>
                <c:pt idx="3">
                  <c:v>0.41474562457999797</c:v>
                </c:pt>
                <c:pt idx="4">
                  <c:v>0.655209899809999</c:v>
                </c:pt>
                <c:pt idx="5">
                  <c:v>0.86975615885999902</c:v>
                </c:pt>
                <c:pt idx="6">
                  <c:v>0.99190862616000008</c:v>
                </c:pt>
                <c:pt idx="7">
                  <c:v>1.59811778729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15-44C7-B782-A061291EEFA2}"/>
            </c:ext>
          </c:extLst>
        </c:ser>
        <c:ser>
          <c:idx val="1"/>
          <c:order val="1"/>
          <c:tx>
            <c:strRef>
              <c:f>data!$I$2</c:f>
              <c:strCache>
                <c:ptCount val="1"/>
                <c:pt idx="0">
                  <c:v>Auslan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</c:spPr>
          <c:invertIfNegative val="0"/>
          <c:cat>
            <c:strRef>
              <c:f>data!$G$3:$G$10</c:f>
              <c:strCache>
                <c:ptCount val="8"/>
                <c:pt idx="0">
                  <c:v>Anlagen</c:v>
                </c:pt>
                <c:pt idx="1">
                  <c:v>Energie und Energieanlagen</c:v>
                </c:pt>
                <c:pt idx="2">
                  <c:v>Hochbau</c:v>
                </c:pt>
                <c:pt idx="3">
                  <c:v>Nicht zugeordnet</c:v>
                </c:pt>
                <c:pt idx="4">
                  <c:v>ICT &amp; Material</c:v>
                </c:pt>
                <c:pt idx="5">
                  <c:v>Dienstleistungen</c:v>
                </c:pt>
                <c:pt idx="6">
                  <c:v>Fahrzeuge</c:v>
                </c:pt>
                <c:pt idx="7">
                  <c:v>Tiefbau</c:v>
                </c:pt>
              </c:strCache>
            </c:strRef>
          </c:cat>
          <c:val>
            <c:numRef>
              <c:f>data!$I$3:$I$10</c:f>
              <c:numCache>
                <c:formatCode>#,##0.00</c:formatCode>
                <c:ptCount val="8"/>
                <c:pt idx="0">
                  <c:v>5.8654730660000001E-2</c:v>
                </c:pt>
                <c:pt idx="1">
                  <c:v>7.0197595789999997E-2</c:v>
                </c:pt>
                <c:pt idx="2">
                  <c:v>2.2845734000000004E-3</c:v>
                </c:pt>
                <c:pt idx="3">
                  <c:v>1.932106775E-2</c:v>
                </c:pt>
                <c:pt idx="4">
                  <c:v>8.9940276380000003E-2</c:v>
                </c:pt>
                <c:pt idx="5">
                  <c:v>7.5051500869999996E-2</c:v>
                </c:pt>
                <c:pt idx="6">
                  <c:v>0.20296823006</c:v>
                </c:pt>
                <c:pt idx="7">
                  <c:v>9.281599064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C15-44C7-B782-A061291EEF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24205696"/>
        <c:axId val="124203776"/>
      </c:barChart>
      <c:valAx>
        <c:axId val="124203776"/>
        <c:scaling>
          <c:orientation val="minMax"/>
          <c:max val="2"/>
          <c:min val="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24205696"/>
        <c:crosses val="autoZero"/>
        <c:crossBetween val="between"/>
        <c:majorUnit val="0.5"/>
      </c:valAx>
      <c:catAx>
        <c:axId val="124205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 rot="0" vert="horz" anchor="ctr" anchorCtr="1"/>
          <a:lstStyle/>
          <a:p>
            <a:pPr algn="just"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24203776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28284820752900203"/>
          <c:y val="0.92670641478457172"/>
          <c:w val="0.28898822757751641"/>
          <c:h val="4.5279788943638502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2759</cdr:x>
      <cdr:y>0</cdr:y>
    </cdr:from>
    <cdr:to>
      <cdr:x>1</cdr:x>
      <cdr:y>0.05227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549619" y="0"/>
          <a:ext cx="667405" cy="24196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/>
            <a:t>Mrd. CHF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455975E2-D668-4E51-9A3C-34EDD7C4EB22}" type="datetimeFigureOut">
              <a:rPr lang="de-CH" smtClean="0"/>
              <a:t>25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998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Die Objektfolie. </a:t>
            </a:r>
            <a:br>
              <a:rPr lang="de-CH"/>
            </a:br>
            <a:r>
              <a:rPr lang="de-CH"/>
              <a:t>Titel bitte maximal zweizeilig.</a:t>
            </a:r>
            <a:endParaRPr lang="de-CH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de-CH" dirty="0"/>
              <a:t>Die SBB als Auftraggeberin im 2024.</a:t>
            </a:r>
            <a:br>
              <a:rPr lang="de-CH" dirty="0"/>
            </a:b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/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6973129B-3766-41C3-BD0F-FBF7F523AB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33268737"/>
              </p:ext>
            </p:extLst>
          </p:nvPr>
        </p:nvGraphicFramePr>
        <p:xfrm>
          <a:off x="1487488" y="1247776"/>
          <a:ext cx="9217025" cy="462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487487" y="6092825"/>
            <a:ext cx="9217025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de-CH" sz="1100" dirty="0">
                <a:solidFill>
                  <a:schemeClr val="tx2"/>
                </a:solidFill>
                <a:latin typeface="+mj-lt"/>
                <a:cs typeface="Arial" pitchFamily="34" charset="0"/>
              </a:rPr>
              <a:t>Einkaufsvolumen von total 6,17 Milliarden Franken, wovon 90% an Lieferanten mit Sitz in der Schweiz vergeben wurden. 14 488 Lieferanten, davon 90% mit Sitz in der Schweiz. (Berücksichtigt nur Rechnungssteller mit einem Einkaufsvolumen über 2000 Franken im Jahr 2024.)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3CE2534E-B1A7-A9E6-615D-864B28F50FD4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11806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7425BB55-0FFC-4AC6-9C1E-70353BF40C8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77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Die SBB als Auftraggeberin im 2024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e SBB als Auftraggeberin im 2024._x000b_</dc:title>
  <dc:creator>Meyer Raphael (KOM-PGA-VSF)</dc:creator>
  <cp:lastModifiedBy>Stefan Weigel (PAR-EPS)</cp:lastModifiedBy>
  <cp:revision>2</cp:revision>
  <cp:lastPrinted>2024-01-31T15:32:42Z</cp:lastPrinted>
  <dcterms:created xsi:type="dcterms:W3CDTF">2020-09-30T11:00:09Z</dcterms:created>
  <dcterms:modified xsi:type="dcterms:W3CDTF">2025-02-25T16:08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